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359" r:id="rId1"/>
  </p:sldMasterIdLst>
  <p:notesMasterIdLst>
    <p:notesMasterId r:id="rId3"/>
  </p:notesMasterIdLst>
  <p:handoutMasterIdLst>
    <p:handoutMasterId r:id="rId4"/>
  </p:handoutMasterIdLst>
  <p:sldIdLst>
    <p:sldId id="2147469565" r:id="rId2"/>
  </p:sldIdLst>
  <p:sldSz cx="12190413" cy="6858000"/>
  <p:notesSz cx="6888163" cy="100203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19" userDrawn="1">
          <p15:clr>
            <a:srgbClr val="A4A3A4"/>
          </p15:clr>
        </p15:guide>
        <p15:guide id="2" orient="horz" pos="4085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4" orient="horz" pos="109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857">
          <p15:clr>
            <a:srgbClr val="A4A3A4"/>
          </p15:clr>
        </p15:guide>
        <p15:guide id="4" pos="196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6C6C6"/>
    <a:srgbClr val="00BCFF"/>
    <a:srgbClr val="74C713"/>
    <a:srgbClr val="00A5E2"/>
    <a:srgbClr val="E61A5D"/>
    <a:srgbClr val="FF3162"/>
    <a:srgbClr val="624963"/>
    <a:srgbClr val="D30F4B"/>
    <a:srgbClr val="0091DF"/>
    <a:srgbClr val="0061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5455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520" y="168"/>
      </p:cViewPr>
      <p:guideLst>
        <p:guide pos="619"/>
        <p:guide orient="horz" pos="4085"/>
        <p:guide pos="7423"/>
        <p:guide orient="horz" pos="109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75" d="100"/>
          <a:sy n="75" d="100"/>
        </p:scale>
        <p:origin x="-4050" y="-114"/>
      </p:cViewPr>
      <p:guideLst>
        <p:guide orient="horz" pos="2880"/>
        <p:guide pos="2160"/>
        <p:guide orient="horz" pos="2857"/>
        <p:guide pos="19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82216" y="176715"/>
            <a:ext cx="5983605" cy="17856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216864" y="9671310"/>
            <a:ext cx="492259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/27/23</a:t>
            </a:fld>
            <a:endParaRPr lang="en-US" dirty="0"/>
          </a:p>
        </p:txBody>
      </p:sp>
      <p:sp>
        <p:nvSpPr>
          <p:cNvPr id="13" name="Footer Placeholder 3"/>
          <p:cNvSpPr>
            <a:spLocks noGrp="1"/>
          </p:cNvSpPr>
          <p:nvPr>
            <p:ph type="ftr" sz="quarter" idx="2"/>
          </p:nvPr>
        </p:nvSpPr>
        <p:spPr bwMode="gray">
          <a:xfrm>
            <a:off x="494926" y="9671310"/>
            <a:ext cx="5567925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175703" y="9671310"/>
            <a:ext cx="190528" cy="17856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341769" y="192454"/>
            <a:ext cx="364262" cy="364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05931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emf"/><Relationship Id="rId1" Type="http://schemas.openxmlformats.org/officeDocument/2006/relationships/theme" Target="../theme/theme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53988" y="617538"/>
            <a:ext cx="3292475" cy="1852612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txBody>
          <a:bodyPr vert="horz" lIns="87598" tIns="43799" rIns="87598" bIns="4379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192788" y="2938490"/>
            <a:ext cx="6506513" cy="646503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Header Placeholder 1"/>
          <p:cNvSpPr>
            <a:spLocks noGrp="1"/>
          </p:cNvSpPr>
          <p:nvPr>
            <p:ph type="hdr" sz="quarter"/>
          </p:nvPr>
        </p:nvSpPr>
        <p:spPr bwMode="gray">
          <a:xfrm>
            <a:off x="199933" y="183269"/>
            <a:ext cx="5900408" cy="185193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700"/>
            </a:lvl1pPr>
            <a:lvl2pPr marL="4563" indent="0">
              <a:defRPr sz="700"/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quarter" idx="1"/>
          </p:nvPr>
        </p:nvSpPr>
        <p:spPr bwMode="gray">
          <a:xfrm>
            <a:off x="6157508" y="9658526"/>
            <a:ext cx="540250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>
                <a:noFill/>
              </a:defRPr>
            </a:lvl1pPr>
            <a:lvl2pPr marL="0" indent="0">
              <a:defRPr sz="700">
                <a:noFill/>
              </a:defRPr>
            </a:lvl2pPr>
            <a:lvl3pPr marL="0" indent="0" algn="l">
              <a:defRPr sz="700">
                <a:noFill/>
              </a:defRPr>
            </a:lvl3pPr>
            <a:lvl4pPr marL="0" indent="0">
              <a:defRPr sz="700">
                <a:noFill/>
              </a:defRPr>
            </a:lvl4pPr>
            <a:lvl5pPr marL="0" indent="0">
              <a:defRPr sz="700">
                <a:noFill/>
              </a:defRPr>
            </a:lvl5pPr>
            <a:lvl6pPr marL="0" indent="0">
              <a:defRPr sz="700">
                <a:noFill/>
              </a:defRPr>
            </a:lvl6pPr>
            <a:lvl7pPr marL="0" indent="0">
              <a:defRPr sz="700">
                <a:noFill/>
              </a:defRPr>
            </a:lvl7pPr>
            <a:lvl8pPr marL="0" indent="0">
              <a:defRPr sz="700">
                <a:noFill/>
              </a:defRPr>
            </a:lvl8pPr>
            <a:lvl9pPr marL="0" indent="0">
              <a:defRPr sz="700">
                <a:noFill/>
              </a:defRPr>
            </a:lvl9pPr>
          </a:lstStyle>
          <a:p>
            <a:fld id="{D4C110CA-FC68-43DA-BD62-0A387A11A067}" type="datetimeFigureOut">
              <a:rPr lang="en-US" smtClean="0"/>
              <a:pPr/>
              <a:t>1/27/23</a:t>
            </a:fld>
            <a:endParaRPr lang="en-US" dirty="0"/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4"/>
          </p:nvPr>
        </p:nvSpPr>
        <p:spPr bwMode="gray">
          <a:xfrm>
            <a:off x="547782" y="9658526"/>
            <a:ext cx="5465661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700"/>
            </a:lvl1pPr>
            <a:lvl2pPr marL="4563" indent="0">
              <a:defRPr sz="700">
                <a:solidFill>
                  <a:schemeClr val="tx1"/>
                </a:solidFill>
              </a:defRPr>
            </a:lvl2pPr>
            <a:lvl3pPr marL="0" indent="0">
              <a:defRPr sz="700"/>
            </a:lvl3pPr>
            <a:lvl4pPr marL="4563" indent="0">
              <a:defRPr sz="700"/>
            </a:lvl4pPr>
            <a:lvl5pPr marL="0" indent="0">
              <a:defRPr sz="700"/>
            </a:lvl5pPr>
            <a:lvl6pPr marL="4563" indent="0">
              <a:defRPr sz="700"/>
            </a:lvl6pPr>
            <a:lvl7pPr marL="0" indent="0">
              <a:defRPr sz="700"/>
            </a:lvl7pPr>
            <a:lvl8pPr marL="4563" indent="0">
              <a:defRPr sz="700"/>
            </a:lvl8pPr>
            <a:lvl9pPr marL="0" indent="0">
              <a:defRPr sz="700"/>
            </a:lvl9pPr>
          </a:lstStyle>
          <a:p>
            <a:endParaRPr lang="en-US" dirty="0"/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192834" y="9658526"/>
            <a:ext cx="208896" cy="185193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700"/>
            </a:lvl1pPr>
            <a:lvl2pPr marL="0" indent="0">
              <a:defRPr sz="700"/>
            </a:lvl2pPr>
            <a:lvl3pPr marL="0" indent="0">
              <a:defRPr sz="700"/>
            </a:lvl3pPr>
            <a:lvl4pPr marL="0" indent="0">
              <a:defRPr sz="700"/>
            </a:lvl4pPr>
            <a:lvl5pPr marL="0" indent="0">
              <a:defRPr sz="700"/>
            </a:lvl5pPr>
            <a:lvl6pPr marL="0" indent="0">
              <a:defRPr sz="700"/>
            </a:lvl6pPr>
            <a:lvl7pPr marL="0" indent="0">
              <a:defRPr sz="700"/>
            </a:lvl7pPr>
            <a:lvl8pPr marL="0" indent="0">
              <a:defRPr sz="700"/>
            </a:lvl8pPr>
            <a:lvl9pPr marL="0" indent="0">
              <a:defRPr sz="700"/>
            </a:lvl9pPr>
          </a:lstStyle>
          <a:p>
            <a:fld id="{32F3CE37-8989-471A-BC57-D3CAAD03839D}" type="slidenum">
              <a:rPr lang="en-US" smtClean="0"/>
              <a:pPr/>
              <a:t>‹Nr.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298071" y="2056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59774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8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buFontTx/>
      <a:buBlip>
        <a:blip r:embed="rId3"/>
      </a:buBlip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buFontTx/>
      <a:buBlip>
        <a:blip r:embed="rId4"/>
      </a:buBlip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buFontTx/>
      <a:buBlip>
        <a:blip r:embed="rId5"/>
      </a:buBlip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buFontTx/>
      <a:buBlip>
        <a:blip r:embed="rId6"/>
      </a:buBlip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Olena: 2 mi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2438338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2400" b="0" i="0" u="none" strike="noStrike" kern="0" cap="none" spc="0" normalizeH="0" baseline="0" noProof="0" smtClean="0">
                <a:ln>
                  <a:noFill/>
                </a:ln>
                <a:solidFill>
                  <a:srgbClr val="5E5E5E"/>
                </a:solidFill>
                <a:effectLst/>
                <a:uLnTx/>
                <a:uFillTx/>
                <a:latin typeface="Helvetica Neue"/>
                <a:sym typeface="Helvetica Neue"/>
              </a:rPr>
              <a:pPr marL="0" marR="0" lvl="0" indent="0" algn="ctr" defTabSz="2438338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5E5E5E"/>
              </a:solidFill>
              <a:effectLst/>
              <a:uLnTx/>
              <a:uFillTx/>
              <a:latin typeface="Helvetica Neue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9484702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1" y="2424948"/>
            <a:ext cx="3620357" cy="1440000"/>
          </a:xfrm>
        </p:spPr>
        <p:txBody>
          <a:bodyPr anchor="t"/>
          <a:lstStyle>
            <a:lvl1pPr>
              <a:defRPr sz="3199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9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3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65902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820" y="3892750"/>
            <a:ext cx="522000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59719" y="3892750"/>
            <a:ext cx="522000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820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59719" y="1732750"/>
            <a:ext cx="522000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7422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58985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  <p15:guide id="15" orient="horz" pos="247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/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96018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1961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704">
          <p15:clr>
            <a:srgbClr val="FBAE40"/>
          </p15:clr>
        </p15:guide>
        <p15:guide id="5" orient="horz" pos="2478">
          <p15:clr>
            <a:srgbClr val="FBAE40"/>
          </p15:clr>
        </p15:guide>
        <p15:guide id="6" orient="horz" pos="4086">
          <p15:clr>
            <a:srgbClr val="FBAE40"/>
          </p15:clr>
        </p15:guide>
        <p15:guide id="7" orient="horz" pos="2591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3" pos="5667">
          <p15:clr>
            <a:srgbClr val="FBAE40"/>
          </p15:clr>
        </p15:guide>
        <p15:guide id="14" pos="589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invGray">
          <a:xfrm>
            <a:off x="981821" y="1138299"/>
            <a:ext cx="10798460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</a:defRPr>
            </a:lvl2pPr>
            <a:lvl3pPr marL="0" indent="0" algn="l">
              <a:buNone/>
              <a:defRPr sz="1800">
                <a:solidFill>
                  <a:schemeClr val="bg1"/>
                </a:solidFill>
              </a:defRPr>
            </a:lvl3pPr>
            <a:lvl4pPr marL="0" indent="0" algn="l">
              <a:buNone/>
              <a:defRPr sz="1800">
                <a:solidFill>
                  <a:schemeClr val="bg1"/>
                </a:solidFill>
              </a:defRPr>
            </a:lvl4pPr>
            <a:lvl5pPr marL="0" indent="0" algn="l">
              <a:buNone/>
              <a:defRPr sz="1800">
                <a:solidFill>
                  <a:schemeClr val="bg1"/>
                </a:solidFill>
              </a:defRPr>
            </a:lvl5pPr>
            <a:lvl6pPr marL="0" indent="0" algn="l">
              <a:buNone/>
              <a:defRPr sz="1800">
                <a:solidFill>
                  <a:schemeClr val="bg1"/>
                </a:solidFill>
              </a:defRPr>
            </a:lvl6pPr>
            <a:lvl7pPr marL="0" indent="0" algn="l">
              <a:buNone/>
              <a:defRPr sz="1800">
                <a:solidFill>
                  <a:schemeClr val="bg1"/>
                </a:solidFill>
              </a:defRPr>
            </a:lvl7pPr>
            <a:lvl8pPr marL="0" indent="0" algn="l">
              <a:buNone/>
              <a:defRPr sz="1800">
                <a:solidFill>
                  <a:schemeClr val="bg1"/>
                </a:solidFill>
              </a:defRPr>
            </a:lvl8pPr>
            <a:lvl9pPr marL="0" indent="0" algn="l"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3337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2478">
          <p15:clr>
            <a:srgbClr val="FBAE40"/>
          </p15:clr>
        </p15:guide>
        <p15:guide id="5" orient="horz" pos="2591">
          <p15:clr>
            <a:srgbClr val="FBAE40"/>
          </p15:clr>
        </p15:guide>
        <p15:guide id="6" orient="horz" pos="2704">
          <p15:clr>
            <a:srgbClr val="FBAE40"/>
          </p15:clr>
        </p15:guide>
        <p15:guide id="7" orient="horz" pos="4085">
          <p15:clr>
            <a:srgbClr val="FBAE40"/>
          </p15:clr>
        </p15:guide>
        <p15:guide id="8" pos="2150">
          <p15:clr>
            <a:srgbClr val="FBAE40"/>
          </p15:clr>
        </p15:guide>
        <p15:guide id="9" pos="2376">
          <p15:clr>
            <a:srgbClr val="FBAE40"/>
          </p15:clr>
        </p15:guide>
        <p15:guide id="10" pos="3908">
          <p15:clr>
            <a:srgbClr val="FBAE40"/>
          </p15:clr>
        </p15:guide>
        <p15:guide id="11" pos="4021">
          <p15:clr>
            <a:srgbClr val="FBAE40"/>
          </p15:clr>
        </p15:guide>
        <p15:guide id="12" pos="4134">
          <p15:clr>
            <a:srgbClr val="FBAE40"/>
          </p15:clr>
        </p15:guide>
        <p15:guide id="14" pos="5667">
          <p15:clr>
            <a:srgbClr val="FBAE40"/>
          </p15:clr>
        </p15:guide>
        <p15:guide id="15" pos="5894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282" y="1052513"/>
            <a:ext cx="10800000" cy="5432237"/>
          </a:xfrm>
        </p:spPr>
        <p:txBody>
          <a:bodyPr bIns="0" anchor="ctr"/>
          <a:lstStyle>
            <a:lvl1pPr marL="0" indent="0" algn="l">
              <a:buNone/>
              <a:defRPr sz="6599">
                <a:solidFill>
                  <a:schemeClr val="tx2"/>
                </a:solidFill>
              </a:defRPr>
            </a:lvl1pPr>
            <a:lvl2pPr marL="0" indent="0" algn="l">
              <a:buNone/>
              <a:defRPr sz="6599">
                <a:solidFill>
                  <a:schemeClr val="tx2"/>
                </a:solidFill>
              </a:defRPr>
            </a:lvl2pPr>
            <a:lvl3pPr marL="0" indent="0" algn="l">
              <a:buNone/>
              <a:defRPr sz="6599">
                <a:solidFill>
                  <a:schemeClr val="tx2"/>
                </a:solidFill>
              </a:defRPr>
            </a:lvl3pPr>
            <a:lvl4pPr marL="0" indent="0" algn="l">
              <a:buNone/>
              <a:defRPr sz="6599">
                <a:solidFill>
                  <a:schemeClr val="tx2"/>
                </a:solidFill>
              </a:defRPr>
            </a:lvl4pPr>
            <a:lvl5pPr marL="0" indent="0" algn="l">
              <a:buNone/>
              <a:defRPr sz="6599">
                <a:solidFill>
                  <a:schemeClr val="tx2"/>
                </a:solidFill>
              </a:defRPr>
            </a:lvl5pPr>
            <a:lvl6pPr marL="0" indent="0" algn="l">
              <a:buNone/>
              <a:defRPr sz="6599">
                <a:solidFill>
                  <a:schemeClr val="tx2"/>
                </a:solidFill>
              </a:defRPr>
            </a:lvl6pPr>
            <a:lvl7pPr marL="0" indent="0" algn="l">
              <a:buNone/>
              <a:defRPr sz="6599">
                <a:solidFill>
                  <a:schemeClr val="tx2"/>
                </a:solidFill>
              </a:defRPr>
            </a:lvl7pPr>
            <a:lvl8pPr marL="0" indent="0" algn="l">
              <a:buNone/>
              <a:defRPr sz="6599">
                <a:solidFill>
                  <a:schemeClr val="tx2"/>
                </a:solidFill>
              </a:defRPr>
            </a:lvl8pPr>
            <a:lvl9pPr marL="0" indent="0" algn="l">
              <a:buNone/>
              <a:defRPr sz="6599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85776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0" y="0"/>
            <a:ext cx="12190413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0810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19" y="1732422"/>
            <a:ext cx="5381498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19" y="2424948"/>
            <a:ext cx="5381498" cy="1620000"/>
          </a:xfrm>
        </p:spPr>
        <p:txBody>
          <a:bodyPr anchor="t"/>
          <a:lstStyle>
            <a:lvl1pPr>
              <a:defRPr sz="5399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912824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1" y="1732758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399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751511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8127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820" y="1732758"/>
            <a:ext cx="5381496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820" y="2424948"/>
            <a:ext cx="5381498" cy="1620000"/>
          </a:xfrm>
        </p:spPr>
        <p:txBody>
          <a:bodyPr anchor="t"/>
          <a:lstStyle>
            <a:lvl1pPr>
              <a:defRPr sz="5399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398" y="4262151"/>
            <a:ext cx="3600000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5922" y="0"/>
            <a:ext cx="6094492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334" y="0"/>
            <a:ext cx="2938864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28" tIns="45714" rIns="91428" bIns="45714" numCol="1" anchor="t" anchorCtr="0" compatLnSpc="1">
            <a:prstTxWarp prst="textNoShape">
              <a:avLst/>
            </a:prstTxWarp>
          </a:bodyPr>
          <a:lstStyle/>
          <a:p>
            <a:endParaRPr lang="en-US" sz="2400"/>
          </a:p>
        </p:txBody>
      </p:sp>
      <p:sp>
        <p:nvSpPr>
          <p:cNvPr id="13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1750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6" y="1732422"/>
            <a:ext cx="3620553" cy="592952"/>
          </a:xfrm>
        </p:spPr>
        <p:txBody>
          <a:bodyPr anchor="b"/>
          <a:lstStyle>
            <a:lvl1pPr marL="0" indent="0" algn="l"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b="0" i="0"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="0" i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 b="0" i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3" y="2424948"/>
            <a:ext cx="3620357" cy="1440000"/>
          </a:xfrm>
        </p:spPr>
        <p:txBody>
          <a:bodyPr anchor="t"/>
          <a:lstStyle>
            <a:lvl1pPr>
              <a:defRPr sz="3199" b="0" i="0">
                <a:solidFill>
                  <a:schemeClr val="tx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4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HelveticaNeueLT W1G 55 Roman" panose="020B0604020202020204" pitchFamily="34" charset="0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1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 i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7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461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55 Roman" panose="020B06040202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5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/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/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2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76" y="5"/>
            <a:ext cx="198784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55 Roman" panose="020B0604020202020204" pitchFamily="34" charset="0"/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79999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55 Roman" panose="020B0604020202020204" pitchFamily="34" charset="0"/>
              </a:rPr>
              <a:t>Logo</a:t>
            </a:r>
          </a:p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55 Roman" panose="020B0604020202020204" pitchFamily="34" charset="0"/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94515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1" y="2424948"/>
            <a:ext cx="3620357" cy="1440000"/>
          </a:xfrm>
        </p:spPr>
        <p:txBody>
          <a:bodyPr anchor="t"/>
          <a:lstStyle>
            <a:lvl1pPr>
              <a:defRPr sz="3199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9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3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15693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6" y="1732422"/>
            <a:ext cx="3620553" cy="592952"/>
          </a:xfrm>
        </p:spPr>
        <p:txBody>
          <a:bodyPr anchor="b"/>
          <a:lstStyle>
            <a:lvl1pPr marL="0" indent="0" algn="l"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b="0" i="0"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="0" i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 b="0" i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3" y="2424948"/>
            <a:ext cx="3620357" cy="1440000"/>
          </a:xfrm>
        </p:spPr>
        <p:txBody>
          <a:bodyPr anchor="t"/>
          <a:lstStyle>
            <a:lvl1pPr>
              <a:defRPr sz="3199" b="0" i="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4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HelveticaNeueLT W1G 55 Roman" panose="020B0604020202020204" pitchFamily="34" charset="0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1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 i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7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61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55 Roman" panose="020B0604020202020204" pitchFamily="34" charset="0"/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5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/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/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2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6" y="5"/>
            <a:ext cx="198784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55 Roman" panose="020B0604020202020204" pitchFamily="34" charset="0"/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79999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55 Roman" panose="020B0604020202020204" pitchFamily="34" charset="0"/>
              </a:rPr>
              <a:t>Logo</a:t>
            </a:r>
          </a:p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55 Roman" panose="020B0604020202020204" pitchFamily="34" charset="0"/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527486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6" y="1732422"/>
            <a:ext cx="3620553" cy="592952"/>
          </a:xfrm>
        </p:spPr>
        <p:txBody>
          <a:bodyPr anchor="b"/>
          <a:lstStyle>
            <a:lvl1pPr marL="0" indent="0" algn="l">
              <a:buNone/>
              <a:defRPr sz="2000" b="0" i="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b="0" i="0"/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="0" i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 b="0" i="0"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3" y="2424948"/>
            <a:ext cx="3620357" cy="1440000"/>
          </a:xfrm>
        </p:spPr>
        <p:txBody>
          <a:bodyPr anchor="t"/>
          <a:lstStyle>
            <a:lvl1pPr>
              <a:defRPr sz="3199" b="0" i="0"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4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HelveticaNeueLT W1G 65 Md" panose="020B0604020202020204" pitchFamily="34" charset="0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1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 i="0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7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61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65 Md" panose="020B0604020202020204" pitchFamily="34" charset="0"/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5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/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/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2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 b="0" i="0"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6" y="5"/>
            <a:ext cx="198784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65 Md" panose="020B0604020202020204" pitchFamily="34" charset="0"/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4" y="524850"/>
            <a:ext cx="1079999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65 Md" panose="020B0604020202020204" pitchFamily="34" charset="0"/>
              </a:rPr>
              <a:t>Logo</a:t>
            </a:r>
          </a:p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65 Md" panose="020B0604020202020204" pitchFamily="34" charset="0"/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0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 2 (3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6" y="1732422"/>
            <a:ext cx="3620553" cy="592952"/>
          </a:xfrm>
        </p:spPr>
        <p:txBody>
          <a:bodyPr anchor="b"/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b="0" i="0">
                <a:latin typeface="HelveticaNeueLT W1G 65 Md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="0" i="0">
                <a:noFill/>
                <a:latin typeface="HelveticaNeueLT W1G 65 Md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 b="0" i="0">
                <a:noFill/>
                <a:latin typeface="HelveticaNeueLT W1G 65 Md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3" y="2424948"/>
            <a:ext cx="3620358" cy="1440000"/>
          </a:xfrm>
        </p:spPr>
        <p:txBody>
          <a:bodyPr anchor="t"/>
          <a:lstStyle>
            <a:lvl1pPr>
              <a:defRPr sz="3199" b="0" i="0">
                <a:solidFill>
                  <a:schemeClr val="tx2"/>
                </a:solidFill>
                <a:latin typeface="HelveticaNeueLT W1G 65 Md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6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HelveticaNeueLT W1G 65 Md" panose="020B0604020202020204" pitchFamily="34" charset="0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2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8" y="704850"/>
            <a:ext cx="72000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3BEC00A-2D48-4013-B391-8772109AC8D8}"/>
              </a:ext>
            </a:extLst>
          </p:cNvPr>
          <p:cNvSpPr/>
          <p:nvPr userDrawn="1"/>
        </p:nvSpPr>
        <p:spPr bwMode="gray">
          <a:xfrm>
            <a:off x="4075461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65 Md" panose="020B06040202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D2C6F70-E75D-475F-B419-269CCB1A79F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3" y="0"/>
            <a:ext cx="3984708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>
                <a:latin typeface="HelveticaNeueLT W1G 65 Md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39BAE79B-A563-4FC7-B9F7-A23D4B7F095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>
                <a:latin typeface="HelveticaNeueLT W1G 65 Md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F2288D79-07BA-4239-B9FD-72BB7BF32D5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2" y="0"/>
            <a:ext cx="2607155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 b="0" i="0">
                <a:latin typeface="HelveticaNeueLT W1G 65 Md" panose="020B0604020202020204" pitchFamily="34" charset="0"/>
              </a:defRPr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A56B1E33-75AC-4D5C-833A-CA5C8008C847}"/>
              </a:ext>
            </a:extLst>
          </p:cNvPr>
          <p:cNvSpPr/>
          <p:nvPr userDrawn="1"/>
        </p:nvSpPr>
        <p:spPr bwMode="gray">
          <a:xfrm>
            <a:off x="69578" y="6"/>
            <a:ext cx="198784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65 Md" panose="020B0604020202020204" pitchFamily="34" charset="0"/>
            </a:endParaRPr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AFC5990D-0BBE-4F16-8156-3BC1019B8FD3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3" y="524850"/>
            <a:ext cx="108000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65 Md" panose="020B0604020202020204" pitchFamily="34" charset="0"/>
              </a:rPr>
              <a:t>Logo</a:t>
            </a:r>
          </a:p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65 Md" panose="020B0604020202020204" pitchFamily="34" charset="0"/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54473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 3 (3)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6" y="1732422"/>
            <a:ext cx="3620553" cy="592952"/>
          </a:xfrm>
        </p:spPr>
        <p:txBody>
          <a:bodyPr anchor="b"/>
          <a:lstStyle>
            <a:lvl1pPr marL="0" indent="0" algn="l">
              <a:buNone/>
              <a:defRPr sz="2000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 b="0" i="0">
                <a:latin typeface="HelveticaNeueLT W1G 65 Md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 b="0" i="0">
                <a:noFill/>
                <a:latin typeface="HelveticaNeueLT W1G 65 Md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 b="0" i="0">
                <a:noFill/>
                <a:latin typeface="HelveticaNeueLT W1G 65 Md" panose="020B0604020202020204" pitchFamily="34" charset="0"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3" y="2424948"/>
            <a:ext cx="3620358" cy="1440000"/>
          </a:xfrm>
        </p:spPr>
        <p:txBody>
          <a:bodyPr anchor="t"/>
          <a:lstStyle>
            <a:lvl1pPr>
              <a:defRPr sz="3199" b="0" i="0">
                <a:solidFill>
                  <a:schemeClr val="accent2"/>
                </a:solidFill>
                <a:latin typeface="HelveticaNeueLT W1G 65 Md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6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32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HelveticaNeueLT W1G 65 Md" panose="020B0604020202020204" pitchFamily="34" charset="0"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402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 b="0" i="0">
                <a:solidFill>
                  <a:schemeClr val="bg1"/>
                </a:solidFill>
                <a:latin typeface="HelveticaNeueLT W1G 65 Md" panose="020B0604020202020204" pitchFamily="34" charset="0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1">
                <a:solidFill>
                  <a:schemeClr val="bg1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8" y="704850"/>
            <a:ext cx="720001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10F45FFE-96B1-40C5-A292-0CA94D34D065}"/>
              </a:ext>
            </a:extLst>
          </p:cNvPr>
          <p:cNvSpPr/>
          <p:nvPr userDrawn="1"/>
        </p:nvSpPr>
        <p:spPr bwMode="gray">
          <a:xfrm>
            <a:off x="4075461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65 Md" panose="020B0604020202020204" pitchFamily="34" charset="0"/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1B2855E-6374-4E16-B969-06FB4FD6A6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3" y="0"/>
            <a:ext cx="3984708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>
                <a:latin typeface="HelveticaNeueLT W1G 65 Md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95279B28-8E9A-48EF-BBFA-EB5F09F244E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 b="0" i="0">
                <a:latin typeface="HelveticaNeueLT W1G 65 Md" panose="020B0604020202020204" pitchFamily="34" charset="0"/>
              </a:defRPr>
            </a:lvl1pPr>
          </a:lstStyle>
          <a:p>
            <a:r>
              <a:rPr lang="en-GB"/>
              <a:t>Click icon to add picture</a:t>
            </a:r>
            <a:endParaRPr lang="de-DE"/>
          </a:p>
        </p:txBody>
      </p:sp>
      <p:sp>
        <p:nvSpPr>
          <p:cNvPr id="20" name="Picture Placeholder 56">
            <a:extLst>
              <a:ext uri="{FF2B5EF4-FFF2-40B4-BE49-F238E27FC236}">
                <a16:creationId xmlns:a16="http://schemas.microsoft.com/office/drawing/2014/main" id="{3DF0ABB8-43C5-486B-97C5-606C588213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2" y="0"/>
            <a:ext cx="2607155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 b="0" i="0">
                <a:latin typeface="HelveticaNeueLT W1G 65 Md" panose="020B0604020202020204" pitchFamily="34" charset="0"/>
              </a:defRPr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14" name="MIO_VALID_LAYOUT" hidden="1">
            <a:extLst>
              <a:ext uri="{FF2B5EF4-FFF2-40B4-BE49-F238E27FC236}">
                <a16:creationId xmlns:a16="http://schemas.microsoft.com/office/drawing/2014/main" id="{0465EA00-3EFA-4E02-9E94-4A0C46405631}"/>
              </a:ext>
            </a:extLst>
          </p:cNvPr>
          <p:cNvSpPr/>
          <p:nvPr userDrawn="1"/>
        </p:nvSpPr>
        <p:spPr bwMode="gray">
          <a:xfrm>
            <a:off x="69578" y="6"/>
            <a:ext cx="198784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HelveticaNeueLT W1G 65 Md" panose="020B0604020202020204" pitchFamily="34" charset="0"/>
            </a:endParaRPr>
          </a:p>
        </p:txBody>
      </p:sp>
      <p:sp>
        <p:nvSpPr>
          <p:cNvPr id="15" name="Logoschutz" hidden="1">
            <a:extLst>
              <a:ext uri="{FF2B5EF4-FFF2-40B4-BE49-F238E27FC236}">
                <a16:creationId xmlns:a16="http://schemas.microsoft.com/office/drawing/2014/main" id="{0E4D9B70-294B-4EEF-9E60-A1B22BE16F42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3" y="524850"/>
            <a:ext cx="108000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65 Md" panose="020B0604020202020204" pitchFamily="34" charset="0"/>
              </a:rPr>
              <a:t>Logo</a:t>
            </a:r>
          </a:p>
          <a:p>
            <a:pPr algn="ctr"/>
            <a:r>
              <a:rPr lang="de-DE" sz="2400" b="0" i="0">
                <a:solidFill>
                  <a:schemeClr val="tx1"/>
                </a:solidFill>
                <a:latin typeface="HelveticaNeueLT W1G 65 Md" panose="020B0604020202020204" pitchFamily="34" charset="0"/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34732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1" y="2424948"/>
            <a:ext cx="3620357" cy="1440000"/>
          </a:xfrm>
        </p:spPr>
        <p:txBody>
          <a:bodyPr anchor="t"/>
          <a:lstStyle>
            <a:lvl1pPr>
              <a:defRPr sz="3199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9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2872" y="0"/>
            <a:ext cx="3984707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5884" y="0"/>
            <a:ext cx="399533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5640" y="0"/>
            <a:ext cx="2607154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</a:t>
            </a:r>
            <a:br>
              <a:rPr lang="en-US"/>
            </a:br>
            <a:r>
              <a:rPr lang="en-US"/>
              <a:t>add picture</a:t>
            </a:r>
            <a:endParaRPr lang="de-DE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75" y="1"/>
            <a:ext cx="198783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144611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  <p:sp>
        <p:nvSpPr>
          <p:cNvPr id="3" name="Text Placeholder 54">
            <a:extLst>
              <a:ext uri="{FF2B5EF4-FFF2-40B4-BE49-F238E27FC236}">
                <a16:creationId xmlns:a16="http://schemas.microsoft.com/office/drawing/2014/main" id="{4D1521F8-24CC-B063-5AFD-CA48091C9B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005338" y="1843721"/>
            <a:ext cx="2513823" cy="2401708"/>
          </a:xfrm>
        </p:spPr>
        <p:txBody>
          <a:bodyPr/>
          <a:lstStyle>
            <a:lvl1pPr marL="269892" indent="-269892">
              <a:spcBef>
                <a:spcPts val="18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1pPr>
            <a:lvl2pPr marL="539784" indent="-269892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2pPr>
            <a:lvl3pPr marL="809676" indent="-269892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3pPr>
            <a:lvl4pPr marL="1079568" indent="-269892">
              <a:spcBef>
                <a:spcPts val="600"/>
              </a:spcBef>
              <a:spcAft>
                <a:spcPts val="0"/>
              </a:spcAft>
              <a:buFontTx/>
              <a:buBlip>
                <a:blip r:embed="rId7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0042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/>
        </p:nvSpPr>
        <p:spPr bwMode="gray">
          <a:xfrm>
            <a:off x="4075459" y="0"/>
            <a:ext cx="8114954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365" y="1732422"/>
            <a:ext cx="3620552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561" y="2424948"/>
            <a:ext cx="3620357" cy="1440000"/>
          </a:xfrm>
        </p:spPr>
        <p:txBody>
          <a:bodyPr anchor="t"/>
          <a:lstStyle>
            <a:lvl1pPr>
              <a:defRPr sz="3199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683" y="4041068"/>
            <a:ext cx="480832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49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399" y="4262151"/>
            <a:ext cx="291551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701676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2873" y="0"/>
            <a:ext cx="8079923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127486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6765" y="403540"/>
            <a:ext cx="9624002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337" y="1843721"/>
            <a:ext cx="4680000" cy="4641030"/>
          </a:xfrm>
        </p:spPr>
        <p:txBody>
          <a:bodyPr/>
          <a:lstStyle>
            <a:lvl1pPr marL="269946" indent="-269946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39892" indent="-269946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09838" indent="-269946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79784" indent="-269946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673" y="6617933"/>
            <a:ext cx="5710665" cy="108000"/>
          </a:xfrm>
        </p:spPr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43" y="6617933"/>
            <a:ext cx="392326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701832" y="704850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4237" y="1"/>
            <a:ext cx="4386177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2400"/>
            </a:p>
          </p:txBody>
        </p:sp>
      </p:grpSp>
      <p:sp>
        <p:nvSpPr>
          <p:cNvPr id="6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521832" y="524850"/>
            <a:ext cx="1080000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4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24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9829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1" y="0"/>
            <a:ext cx="2104575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40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097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09949" y="1473903"/>
            <a:ext cx="4140000" cy="1440753"/>
          </a:xfrm>
        </p:spPr>
        <p:txBody>
          <a:bodyPr anchor="b"/>
          <a:lstStyle>
            <a:lvl1pPr algn="r">
              <a:defRPr sz="4799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111" y="1"/>
            <a:ext cx="2593510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85797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39926" y="0"/>
            <a:ext cx="645048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24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24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1" y="1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4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8387" y="2989334"/>
            <a:ext cx="4500000" cy="1440753"/>
          </a:xfrm>
        </p:spPr>
        <p:txBody>
          <a:bodyPr anchor="t"/>
          <a:lstStyle>
            <a:lvl1pPr algn="l">
              <a:defRPr sz="4799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190" y="2134650"/>
            <a:ext cx="4500000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264568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1" y="1"/>
            <a:ext cx="2104575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28" tIns="45714" rIns="91428" bIns="45714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240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344" y="1462159"/>
            <a:ext cx="4500000" cy="1440753"/>
          </a:xfrm>
        </p:spPr>
        <p:txBody>
          <a:bodyPr anchor="b"/>
          <a:lstStyle>
            <a:lvl1pPr algn="l">
              <a:defRPr sz="4799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5681" y="3064854"/>
            <a:ext cx="4500000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609" y="1"/>
            <a:ext cx="414884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24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7700" y="617699"/>
            <a:ext cx="395248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414107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820" y="1732751"/>
            <a:ext cx="10798461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818429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820" y="1138299"/>
            <a:ext cx="10798461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96104" y="617155"/>
            <a:ext cx="399600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820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59603" y="1732750"/>
            <a:ext cx="522000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06" y="509323"/>
            <a:ext cx="61200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360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281" y="1732751"/>
            <a:ext cx="10800000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821" y="181938"/>
            <a:ext cx="10798460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1231" y="6617933"/>
            <a:ext cx="48895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672" y="6617933"/>
            <a:ext cx="8640000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r>
              <a:rPr lang="en-US"/>
              <a:t>Future ONE Bayer Brand Communication / Communications / August 2022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43" y="6617933"/>
            <a:ext cx="392326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empower - DO NOT DELETE!!!" hidden="1"/>
          <p:cNvSpPr/>
          <p:nvPr>
            <p:custDataLst>
              <p:tags r:id="rId27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de-DE" sz="2400"/>
          </a:p>
        </p:txBody>
      </p:sp>
      <p:sp>
        <p:nvSpPr>
          <p:cNvPr id="9" name="MSIPCMContentMarking" descr="{&quot;HashCode&quot;:-242339457,&quot;Placement&quot;:&quot;Footer&quot;,&quot;Top&quot;:503.1945,&quot;Left&quot;:812.3856,&quot;SlideWidth&quot;:959,&quot;SlideHeight&quot;:540}">
            <a:extLst>
              <a:ext uri="{FF2B5EF4-FFF2-40B4-BE49-F238E27FC236}">
                <a16:creationId xmlns:a16="http://schemas.microsoft.com/office/drawing/2014/main" id="{BF1C6DA7-14F1-49F1-8A17-425FC7AFB1D1}"/>
              </a:ext>
            </a:extLst>
          </p:cNvPr>
          <p:cNvSpPr txBox="1"/>
          <p:nvPr userDrawn="1"/>
        </p:nvSpPr>
        <p:spPr bwMode="gray">
          <a:xfrm>
            <a:off x="10317297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n-US" sz="2200" dirty="0" err="1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1381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0" r:id="rId1"/>
    <p:sldLayoutId id="2147484361" r:id="rId2"/>
    <p:sldLayoutId id="2147484362" r:id="rId3"/>
    <p:sldLayoutId id="2147484363" r:id="rId4"/>
    <p:sldLayoutId id="2147484364" r:id="rId5"/>
    <p:sldLayoutId id="2147484365" r:id="rId6"/>
    <p:sldLayoutId id="2147484366" r:id="rId7"/>
    <p:sldLayoutId id="2147484367" r:id="rId8"/>
    <p:sldLayoutId id="2147484368" r:id="rId9"/>
    <p:sldLayoutId id="2147484369" r:id="rId10"/>
    <p:sldLayoutId id="2147484370" r:id="rId11"/>
    <p:sldLayoutId id="2147484371" r:id="rId12"/>
    <p:sldLayoutId id="2147484372" r:id="rId13"/>
    <p:sldLayoutId id="2147484373" r:id="rId14"/>
    <p:sldLayoutId id="2147484374" r:id="rId15"/>
    <p:sldLayoutId id="2147484375" r:id="rId16"/>
    <p:sldLayoutId id="2147484376" r:id="rId17"/>
    <p:sldLayoutId id="2147484377" r:id="rId18"/>
    <p:sldLayoutId id="2147484378" r:id="rId19"/>
    <p:sldLayoutId id="2147484379" r:id="rId20"/>
    <p:sldLayoutId id="2147484380" r:id="rId21"/>
    <p:sldLayoutId id="2147484381" r:id="rId22"/>
    <p:sldLayoutId id="2147484382" r:id="rId23"/>
    <p:sldLayoutId id="2147484383" r:id="rId24"/>
    <p:sldLayoutId id="2147484384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914217" rtl="0" eaLnBrk="1" latinLnBrk="0" hangingPunct="1">
        <a:spcBef>
          <a:spcPct val="0"/>
        </a:spcBef>
        <a:buNone/>
        <a:defRPr sz="2799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217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69946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28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39892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29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09838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30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79784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79784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79784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9784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9784" indent="-269946" algn="l" defTabSz="914217" rtl="0" eaLnBrk="1" latinLnBrk="0" hangingPunct="1">
        <a:spcBef>
          <a:spcPts val="300"/>
        </a:spcBef>
        <a:spcAft>
          <a:spcPts val="600"/>
        </a:spcAft>
        <a:buFontTx/>
        <a:buBlip>
          <a:blip r:embed="rId31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81F49D11-7299-2ED6-2AAA-A2D639D0B5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2879" y="63041"/>
            <a:ext cx="10599891" cy="6253936"/>
          </a:xfrm>
          <a:prstGeom prst="rect">
            <a:avLst/>
          </a:prstGeom>
          <a:noFill/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5DCF48-97C3-997D-C776-C02440755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218925" hangingPunct="0">
              <a:spcAft>
                <a:spcPts val="600"/>
              </a:spcAft>
            </a:pPr>
            <a:r>
              <a:rPr lang="en-US" kern="0" dirty="0">
                <a:solidFill>
                  <a:srgbClr val="10384F"/>
                </a:solidFill>
                <a:latin typeface="Arial"/>
                <a:ea typeface="Arial Unicode MS"/>
                <a:cs typeface="Arial"/>
                <a:sym typeface="Helvetica Neue"/>
              </a:rPr>
              <a:t>ONE Bayer Brand </a:t>
            </a:r>
            <a:r>
              <a:rPr lang="en-US" kern="0">
                <a:solidFill>
                  <a:srgbClr val="10384F"/>
                </a:solidFill>
                <a:latin typeface="Arial"/>
                <a:ea typeface="Arial Unicode MS"/>
                <a:cs typeface="Arial"/>
                <a:sym typeface="Helvetica Neue"/>
              </a:rPr>
              <a:t>Communication </a:t>
            </a:r>
            <a:endParaRPr lang="en-US" kern="0" dirty="0">
              <a:solidFill>
                <a:srgbClr val="10384F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8638D26B-DB1E-844C-273F-B65162BD8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218925" hangingPunct="0">
              <a:spcAft>
                <a:spcPts val="600"/>
              </a:spcAft>
            </a:pPr>
            <a:fld id="{EEAD9179-7A6B-4268-BEB2-F3B8EB06115B}" type="slidenum">
              <a:rPr lang="en-US" kern="0">
                <a:solidFill>
                  <a:srgbClr val="00BCFF"/>
                </a:solidFill>
                <a:latin typeface="Arial"/>
                <a:ea typeface="Arial Unicode MS"/>
                <a:cs typeface="Arial"/>
                <a:sym typeface="Helvetica Neue"/>
              </a:rPr>
              <a:pPr defTabSz="1218925" hangingPunct="0">
                <a:spcAft>
                  <a:spcPts val="600"/>
                </a:spcAft>
              </a:pPr>
              <a:t>1</a:t>
            </a:fld>
            <a:endParaRPr lang="en-US" kern="0">
              <a:solidFill>
                <a:srgbClr val="00BCFF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B2CA45E-9FDA-BADB-430C-1ADA843A7906}"/>
              </a:ext>
            </a:extLst>
          </p:cNvPr>
          <p:cNvSpPr txBox="1"/>
          <p:nvPr/>
        </p:nvSpPr>
        <p:spPr bwMode="gray">
          <a:xfrm>
            <a:off x="1280489" y="1303140"/>
            <a:ext cx="8532499" cy="245774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/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urpose &amp; Vision: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Delivering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on “Science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etter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life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”,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working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towards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“Health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ll, Hunger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none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”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A5D92EF-860C-CFC9-2EE1-E316909F01CC}"/>
              </a:ext>
            </a:extLst>
          </p:cNvPr>
          <p:cNvSpPr txBox="1"/>
          <p:nvPr/>
        </p:nvSpPr>
        <p:spPr bwMode="gray">
          <a:xfrm>
            <a:off x="1272323" y="1747373"/>
            <a:ext cx="2067226" cy="54693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/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rand Communication:</a:t>
            </a:r>
          </a:p>
          <a:p>
            <a:pPr defTabSz="1218925"/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cience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etter</a:t>
            </a:r>
            <a:endParaRPr lang="de-DE" sz="1400" kern="0">
              <a:solidFill>
                <a:srgbClr val="FFFFF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/>
            <a:endParaRPr lang="de-DE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F2E0218-61FA-3108-C1F4-93AB367D9D64}"/>
              </a:ext>
            </a:extLst>
          </p:cNvPr>
          <p:cNvSpPr txBox="1"/>
          <p:nvPr/>
        </p:nvSpPr>
        <p:spPr bwMode="gray">
          <a:xfrm>
            <a:off x="1280489" y="2400437"/>
            <a:ext cx="2150446" cy="91428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400" b="1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acro</a:t>
            </a:r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b="1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issions</a:t>
            </a:r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:</a:t>
            </a:r>
          </a:p>
          <a:p>
            <a:pPr defTabSz="1218925">
              <a:lnSpc>
                <a:spcPts val="1560"/>
              </a:lnSpc>
            </a:pP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Our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cience-based</a:t>
            </a:r>
            <a:endParaRPr lang="de-DE" sz="1400" kern="0">
              <a:solidFill>
                <a:srgbClr val="FFFFF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>
              <a:lnSpc>
                <a:spcPts val="1560"/>
              </a:lnSpc>
            </a:pP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ompany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of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issions</a:t>
            </a:r>
            <a:endParaRPr lang="de-DE" sz="1400" kern="0">
              <a:solidFill>
                <a:srgbClr val="FFFFF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/>
            <a:endParaRPr lang="de-DE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2A723749-F57E-967B-A890-6E6B922FFE76}"/>
              </a:ext>
            </a:extLst>
          </p:cNvPr>
          <p:cNvSpPr txBox="1"/>
          <p:nvPr/>
        </p:nvSpPr>
        <p:spPr bwMode="gray">
          <a:xfrm>
            <a:off x="1276695" y="3263340"/>
            <a:ext cx="2150446" cy="65599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Key Reputation Topics:</a:t>
            </a:r>
          </a:p>
          <a:p>
            <a:pPr defTabSz="1218925">
              <a:lnSpc>
                <a:spcPts val="1560"/>
              </a:lnSpc>
            </a:pP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ommunications Content</a:t>
            </a:r>
          </a:p>
          <a:p>
            <a:pPr defTabSz="1218925">
              <a:lnSpc>
                <a:spcPts val="1560"/>
              </a:lnSpc>
            </a:pP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ramework</a:t>
            </a:r>
          </a:p>
          <a:p>
            <a:pPr defTabSz="1218925"/>
            <a:endParaRPr lang="de-DE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404CD67-C8E4-D4E9-0830-15010390C8B3}"/>
              </a:ext>
            </a:extLst>
          </p:cNvPr>
          <p:cNvSpPr txBox="1"/>
          <p:nvPr/>
        </p:nvSpPr>
        <p:spPr bwMode="gray">
          <a:xfrm>
            <a:off x="1280489" y="4126244"/>
            <a:ext cx="2150446" cy="914281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400" b="1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issions</a:t>
            </a:r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:</a:t>
            </a:r>
          </a:p>
          <a:p>
            <a:pPr defTabSz="1218925">
              <a:lnSpc>
                <a:spcPts val="1560"/>
              </a:lnSpc>
            </a:pP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ost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unique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nd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unmissable</a:t>
            </a:r>
            <a:endParaRPr lang="de-DE" sz="1400" kern="0">
              <a:solidFill>
                <a:srgbClr val="FFFFF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>
              <a:lnSpc>
                <a:spcPts val="1560"/>
              </a:lnSpc>
            </a:pP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ayer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roof</a:t>
            </a:r>
            <a:r>
              <a:rPr lang="de-DE" sz="1400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400" kern="0" err="1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oints</a:t>
            </a:r>
            <a:endParaRPr lang="de-DE" sz="1400" kern="0">
              <a:solidFill>
                <a:srgbClr val="FFFFF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/>
            <a:endParaRPr lang="de-DE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6386FF9E-9AE0-5BDB-D111-94EA306675BA}"/>
              </a:ext>
            </a:extLst>
          </p:cNvPr>
          <p:cNvSpPr txBox="1"/>
          <p:nvPr/>
        </p:nvSpPr>
        <p:spPr bwMode="gray">
          <a:xfrm>
            <a:off x="1276695" y="6004804"/>
            <a:ext cx="2150446" cy="208756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400" b="1" kern="0">
                <a:solidFill>
                  <a:srgbClr val="FFFFF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ONE Bayer Content</a:t>
            </a:r>
            <a:endParaRPr lang="de-DE" sz="1400" kern="0">
              <a:solidFill>
                <a:srgbClr val="FFFFF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/>
            <a:endParaRPr lang="de-DE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91D255C7-E52B-5307-887F-270F217B841A}"/>
              </a:ext>
            </a:extLst>
          </p:cNvPr>
          <p:cNvSpPr txBox="1"/>
          <p:nvPr/>
        </p:nvSpPr>
        <p:spPr bwMode="gray">
          <a:xfrm>
            <a:off x="3916300" y="1787124"/>
            <a:ext cx="4710535" cy="42614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 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uniting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, global and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long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-term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rand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uilding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ramework</a:t>
            </a:r>
            <a:endParaRPr lang="de-DE" sz="1100" kern="0">
              <a:solidFill>
                <a:srgbClr val="D30F4B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Our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unique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osition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in Life Sciences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9C81A31-E445-8F55-E911-B951115E00BB}"/>
              </a:ext>
            </a:extLst>
          </p:cNvPr>
          <p:cNvSpPr txBox="1"/>
          <p:nvPr/>
        </p:nvSpPr>
        <p:spPr bwMode="gray">
          <a:xfrm>
            <a:off x="3897452" y="2400438"/>
            <a:ext cx="2150446" cy="68073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etter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olutions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evere</a:t>
            </a:r>
            <a:endParaRPr lang="de-DE" sz="1100" kern="0">
              <a:solidFill>
                <a:srgbClr val="10384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>
              <a:lnSpc>
                <a:spcPts val="1560"/>
              </a:lnSpc>
            </a:pP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nd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hronic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diseases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n</a:t>
            </a:r>
          </a:p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geing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opulation</a:t>
            </a:r>
            <a:endParaRPr lang="de-DE" sz="1100" kern="0">
              <a:solidFill>
                <a:srgbClr val="10384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/>
            <a:endParaRPr lang="de-DE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6787E3E7-2B9D-5C63-62F6-062033319810}"/>
              </a:ext>
            </a:extLst>
          </p:cNvPr>
          <p:cNvSpPr txBox="1"/>
          <p:nvPr/>
        </p:nvSpPr>
        <p:spPr bwMode="gray">
          <a:xfrm>
            <a:off x="9283759" y="2421973"/>
            <a:ext cx="2150446" cy="68073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etter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griculture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to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enefit</a:t>
            </a:r>
            <a:endParaRPr lang="de-DE" sz="1100" kern="0">
              <a:solidFill>
                <a:srgbClr val="10384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armers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,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onsumers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nd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the</a:t>
            </a:r>
            <a:endParaRPr lang="de-DE" sz="1100" kern="0">
              <a:solidFill>
                <a:srgbClr val="10384F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  <a:p>
            <a:pPr defTabSz="1218925">
              <a:lnSpc>
                <a:spcPts val="1560"/>
              </a:lnSpc>
            </a:pP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lanet</a:t>
            </a:r>
            <a:endParaRPr lang="de-DE" sz="1100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823CBA00-CCC1-CCD4-867E-A7C955B637FA}"/>
              </a:ext>
            </a:extLst>
          </p:cNvPr>
          <p:cNvSpPr txBox="1"/>
          <p:nvPr/>
        </p:nvSpPr>
        <p:spPr bwMode="gray">
          <a:xfrm>
            <a:off x="6582533" y="2421972"/>
            <a:ext cx="2150446" cy="680738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etter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ontrol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of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personal</a:t>
            </a:r>
          </a:p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health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y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empowering</a:t>
            </a:r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eople</a:t>
            </a:r>
            <a:endParaRPr lang="de-DE" sz="1100" kern="0">
              <a:solidFill>
                <a:srgbClr val="000000"/>
              </a:solidFill>
              <a:latin typeface="Arial" panose="020B0604020202020204" pitchFamily="34" charset="0"/>
              <a:ea typeface="Arial Unicode MS"/>
              <a:cs typeface="Arial"/>
              <a:sym typeface="Helvetica Neue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88F0224-AD06-3450-ABA4-48C2F7EB7B3F}"/>
              </a:ext>
            </a:extLst>
          </p:cNvPr>
          <p:cNvSpPr txBox="1"/>
          <p:nvPr/>
        </p:nvSpPr>
        <p:spPr bwMode="gray">
          <a:xfrm>
            <a:off x="3897452" y="3265211"/>
            <a:ext cx="6902457" cy="677245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defTabSz="1218925">
              <a:lnSpc>
                <a:spcPts val="1560"/>
              </a:lnSpc>
            </a:pP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cus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topic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nd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ositioning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rea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or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Bayer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derived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from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takeholder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insight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nd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busines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goal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. </a:t>
            </a:r>
          </a:p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ccompanying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et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ard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describe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in-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depth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essaging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and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roof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point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,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which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erve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crucial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</a:p>
          <a:p>
            <a:pPr defTabSz="1218925">
              <a:lnSpc>
                <a:spcPts val="1560"/>
              </a:lnSpc>
            </a:pP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adjacent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storie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in support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of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the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Missions</a:t>
            </a:r>
            <a:r>
              <a:rPr lang="de-DE" sz="1100" kern="0">
                <a:solidFill>
                  <a:srgbClr val="00617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.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5BB609AE-35DB-43A8-06E4-E05D06D4E8DC}"/>
              </a:ext>
            </a:extLst>
          </p:cNvPr>
          <p:cNvSpPr txBox="1"/>
          <p:nvPr/>
        </p:nvSpPr>
        <p:spPr bwMode="gray">
          <a:xfrm>
            <a:off x="3868868" y="4091028"/>
            <a:ext cx="609520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925" hangingPunct="0"/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Brand Communication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Missions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shed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light on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subtopics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of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key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reputation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topics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,</a:t>
            </a:r>
          </a:p>
          <a:p>
            <a:pPr defTabSz="1218925" hangingPunct="0"/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serving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as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lighthouses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for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the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broader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public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.</a:t>
            </a:r>
          </a:p>
        </p:txBody>
      </p:sp>
      <p:cxnSp>
        <p:nvCxnSpPr>
          <p:cNvPr id="30" name="Gerade Verbindung 29">
            <a:extLst>
              <a:ext uri="{FF2B5EF4-FFF2-40B4-BE49-F238E27FC236}">
                <a16:creationId xmlns:a16="http://schemas.microsoft.com/office/drawing/2014/main" id="{74A39332-0B1F-8737-D240-3DF1798FA1A0}"/>
              </a:ext>
            </a:extLst>
          </p:cNvPr>
          <p:cNvCxnSpPr>
            <a:cxnSpLocks/>
          </p:cNvCxnSpPr>
          <p:nvPr/>
        </p:nvCxnSpPr>
        <p:spPr bwMode="gray">
          <a:xfrm>
            <a:off x="3916300" y="4599041"/>
            <a:ext cx="7517905" cy="0"/>
          </a:xfrm>
          <a:prstGeom prst="line">
            <a:avLst/>
          </a:prstGeom>
          <a:ln w="6350">
            <a:solidFill>
              <a:srgbClr val="2B6636">
                <a:alpha val="5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>
            <a:extLst>
              <a:ext uri="{FF2B5EF4-FFF2-40B4-BE49-F238E27FC236}">
                <a16:creationId xmlns:a16="http://schemas.microsoft.com/office/drawing/2014/main" id="{590B3E66-8471-F2EC-E8A0-4140EC124DDE}"/>
              </a:ext>
            </a:extLst>
          </p:cNvPr>
          <p:cNvCxnSpPr>
            <a:cxnSpLocks/>
          </p:cNvCxnSpPr>
          <p:nvPr/>
        </p:nvCxnSpPr>
        <p:spPr bwMode="gray">
          <a:xfrm>
            <a:off x="3916300" y="5246658"/>
            <a:ext cx="7517905" cy="0"/>
          </a:xfrm>
          <a:prstGeom prst="line">
            <a:avLst/>
          </a:prstGeom>
          <a:ln w="6350">
            <a:solidFill>
              <a:srgbClr val="2B6636">
                <a:alpha val="5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feld 33">
            <a:extLst>
              <a:ext uri="{FF2B5EF4-FFF2-40B4-BE49-F238E27FC236}">
                <a16:creationId xmlns:a16="http://schemas.microsoft.com/office/drawing/2014/main" id="{FA1F0F00-C148-BA7F-E46E-83A4A7B33B74}"/>
              </a:ext>
            </a:extLst>
          </p:cNvPr>
          <p:cNvSpPr txBox="1"/>
          <p:nvPr/>
        </p:nvSpPr>
        <p:spPr bwMode="gray">
          <a:xfrm>
            <a:off x="3868868" y="5978417"/>
            <a:ext cx="2473922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8925" hangingPunct="0"/>
            <a:r>
              <a:rPr lang="de-DE" sz="1100" kern="0">
                <a:solidFill>
                  <a:srgbClr val="CC0000"/>
                </a:solidFill>
                <a:latin typeface="Helvetica" pitchFamily="2" charset="0"/>
                <a:ea typeface="Arial Unicode MS"/>
                <a:cs typeface="Arial"/>
                <a:sym typeface="Helvetica Neue"/>
              </a:rPr>
              <a:t>In 2023</a:t>
            </a:r>
          </a:p>
        </p:txBody>
      </p:sp>
      <p:sp>
        <p:nvSpPr>
          <p:cNvPr id="3" name="Frame 2">
            <a:extLst>
              <a:ext uri="{FF2B5EF4-FFF2-40B4-BE49-F238E27FC236}">
                <a16:creationId xmlns:a16="http://schemas.microsoft.com/office/drawing/2014/main" id="{7403E439-BCD6-4ED5-990E-D5E3549FF2D3}"/>
              </a:ext>
            </a:extLst>
          </p:cNvPr>
          <p:cNvSpPr/>
          <p:nvPr/>
        </p:nvSpPr>
        <p:spPr bwMode="gray">
          <a:xfrm>
            <a:off x="3650291" y="4605397"/>
            <a:ext cx="8074225" cy="1292414"/>
          </a:xfrm>
          <a:prstGeom prst="frame">
            <a:avLst>
              <a:gd name="adj1" fmla="val 282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25" hangingPunct="0"/>
            <a:endParaRPr lang="en-US" sz="1200" kern="0">
              <a:solidFill>
                <a:srgbClr val="000000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A5AB903-299B-4ADD-9926-09B63FA7DEC9}"/>
              </a:ext>
            </a:extLst>
          </p:cNvPr>
          <p:cNvSpPr/>
          <p:nvPr/>
        </p:nvSpPr>
        <p:spPr bwMode="gray">
          <a:xfrm flipH="1">
            <a:off x="6268235" y="4643505"/>
            <a:ext cx="41455" cy="1215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25" hangingPunct="0"/>
            <a:endParaRPr lang="en-US" sz="1200" kern="0">
              <a:solidFill>
                <a:srgbClr val="FFFFFF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BF8B65A-1D1C-4C42-87BD-7282AC7A5FC9}"/>
              </a:ext>
            </a:extLst>
          </p:cNvPr>
          <p:cNvSpPr/>
          <p:nvPr/>
        </p:nvSpPr>
        <p:spPr bwMode="gray">
          <a:xfrm flipH="1">
            <a:off x="9094524" y="4666039"/>
            <a:ext cx="41455" cy="1215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8925" hangingPunct="0"/>
            <a:endParaRPr lang="en-US" sz="1200" kern="0">
              <a:solidFill>
                <a:srgbClr val="FFFFFF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35" name="Textfeld 15">
            <a:extLst>
              <a:ext uri="{FF2B5EF4-FFF2-40B4-BE49-F238E27FC236}">
                <a16:creationId xmlns:a16="http://schemas.microsoft.com/office/drawing/2014/main" id="{0D7EAB80-4831-4292-9AE6-438E4B0520EF}"/>
              </a:ext>
            </a:extLst>
          </p:cNvPr>
          <p:cNvSpPr txBox="1"/>
          <p:nvPr/>
        </p:nvSpPr>
        <p:spPr bwMode="gray">
          <a:xfrm>
            <a:off x="3916300" y="4787516"/>
            <a:ext cx="2355267" cy="213074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 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Beat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prostate</a:t>
            </a:r>
            <a:r>
              <a:rPr lang="de-DE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 </a:t>
            </a:r>
            <a:r>
              <a:rPr lang="de-DE" sz="1100" kern="0" err="1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cancer</a:t>
            </a:r>
            <a:endParaRPr lang="de-DE" sz="1100" kern="0">
              <a:solidFill>
                <a:srgbClr val="2B6636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36" name="Textfeld 15">
            <a:extLst>
              <a:ext uri="{FF2B5EF4-FFF2-40B4-BE49-F238E27FC236}">
                <a16:creationId xmlns:a16="http://schemas.microsoft.com/office/drawing/2014/main" id="{C72479BB-16AB-4575-8E47-A344DAB3803E}"/>
              </a:ext>
            </a:extLst>
          </p:cNvPr>
          <p:cNvSpPr txBox="1"/>
          <p:nvPr/>
        </p:nvSpPr>
        <p:spPr bwMode="gray">
          <a:xfrm>
            <a:off x="3897453" y="5410249"/>
            <a:ext cx="2097939" cy="18083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en-US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Advance innovative treatments for cardiovascular disease</a:t>
            </a:r>
            <a:endParaRPr lang="de-DE" sz="1100" kern="0">
              <a:solidFill>
                <a:srgbClr val="2B6636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37" name="Textfeld 15">
            <a:extLst>
              <a:ext uri="{FF2B5EF4-FFF2-40B4-BE49-F238E27FC236}">
                <a16:creationId xmlns:a16="http://schemas.microsoft.com/office/drawing/2014/main" id="{05801EA6-57E3-46D4-B061-289C511E58C8}"/>
              </a:ext>
            </a:extLst>
          </p:cNvPr>
          <p:cNvSpPr txBox="1"/>
          <p:nvPr/>
        </p:nvSpPr>
        <p:spPr bwMode="gray">
          <a:xfrm>
            <a:off x="6582532" y="4798462"/>
            <a:ext cx="2184675" cy="24206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 </a:t>
            </a:r>
            <a:r>
              <a:rPr lang="en-US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Take control of everyday ailments (pain management)</a:t>
            </a:r>
          </a:p>
          <a:p>
            <a:pPr defTabSz="1218925"/>
            <a:endParaRPr lang="de-DE" sz="1100" kern="0">
              <a:solidFill>
                <a:srgbClr val="2B6636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38" name="Textfeld 15">
            <a:extLst>
              <a:ext uri="{FF2B5EF4-FFF2-40B4-BE49-F238E27FC236}">
                <a16:creationId xmlns:a16="http://schemas.microsoft.com/office/drawing/2014/main" id="{604802DC-1057-4601-9DDD-1A077DE4354B}"/>
              </a:ext>
            </a:extLst>
          </p:cNvPr>
          <p:cNvSpPr txBox="1"/>
          <p:nvPr/>
        </p:nvSpPr>
        <p:spPr bwMode="gray">
          <a:xfrm>
            <a:off x="9283759" y="4787516"/>
            <a:ext cx="2191136" cy="224016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 </a:t>
            </a:r>
            <a:r>
              <a:rPr lang="en-US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Increase food security when climate change threatens crops</a:t>
            </a:r>
          </a:p>
          <a:p>
            <a:pPr defTabSz="1218925"/>
            <a:endParaRPr lang="de-DE" sz="1100" kern="0">
              <a:solidFill>
                <a:srgbClr val="2B6636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  <p:sp>
        <p:nvSpPr>
          <p:cNvPr id="39" name="Textfeld 15">
            <a:extLst>
              <a:ext uri="{FF2B5EF4-FFF2-40B4-BE49-F238E27FC236}">
                <a16:creationId xmlns:a16="http://schemas.microsoft.com/office/drawing/2014/main" id="{AB9B82BC-20C2-45DE-AB2D-AB8742D96457}"/>
              </a:ext>
            </a:extLst>
          </p:cNvPr>
          <p:cNvSpPr txBox="1"/>
          <p:nvPr/>
        </p:nvSpPr>
        <p:spPr bwMode="gray">
          <a:xfrm>
            <a:off x="6582533" y="5410249"/>
            <a:ext cx="2165827" cy="20444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en-US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Empower everyone everyday to prevent illness to live life better</a:t>
            </a:r>
          </a:p>
        </p:txBody>
      </p:sp>
      <p:sp>
        <p:nvSpPr>
          <p:cNvPr id="40" name="Textfeld 15">
            <a:extLst>
              <a:ext uri="{FF2B5EF4-FFF2-40B4-BE49-F238E27FC236}">
                <a16:creationId xmlns:a16="http://schemas.microsoft.com/office/drawing/2014/main" id="{DC25B392-2985-44F5-84B4-A498304DBD6F}"/>
              </a:ext>
            </a:extLst>
          </p:cNvPr>
          <p:cNvSpPr txBox="1"/>
          <p:nvPr/>
        </p:nvSpPr>
        <p:spPr bwMode="gray">
          <a:xfrm>
            <a:off x="9283759" y="5410248"/>
            <a:ext cx="2347860" cy="204431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defTabSz="1218925"/>
            <a:r>
              <a:rPr lang="de-DE" sz="1100" kern="0">
                <a:solidFill>
                  <a:srgbClr val="10384F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//</a:t>
            </a:r>
            <a:r>
              <a:rPr lang="de-DE" sz="1100" kern="0">
                <a:solidFill>
                  <a:srgbClr val="D30F4B"/>
                </a:solidFill>
                <a:latin typeface="Arial" panose="020B0604020202020204" pitchFamily="34" charset="0"/>
                <a:ea typeface="Arial Unicode MS"/>
                <a:cs typeface="Arial"/>
                <a:sym typeface="Helvetica Neue"/>
              </a:rPr>
              <a:t> </a:t>
            </a:r>
            <a:r>
              <a:rPr lang="en-US" sz="1100" kern="0">
                <a:solidFill>
                  <a:srgbClr val="2B6636"/>
                </a:solidFill>
                <a:latin typeface="Arial"/>
                <a:ea typeface="Arial Unicode MS"/>
                <a:cs typeface="Arial"/>
                <a:sym typeface="Helvetica Neue"/>
              </a:rPr>
              <a:t>Harness data and digital to produce more food with less resource</a:t>
            </a:r>
            <a:endParaRPr lang="de-DE" sz="1100" kern="0">
              <a:solidFill>
                <a:srgbClr val="2B6636"/>
              </a:solidFill>
              <a:latin typeface="Arial"/>
              <a:ea typeface="Arial Unicode MS"/>
              <a:cs typeface="Arial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499634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9A2jd8mj+REimRdud+aOHwFAAAAAAADAAAAAwADAAAAAQADAAEA////////BAAAAAMAEAALmgoOQM+jTUuLAOW4Iy/fV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BQMAAAAAAAAAAAAACAB////////////////AAAA////////////////BAAAAAMA////////BAAAAAI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AAP///////w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NA2jd8mj+REimRdud+aOHwDRGF0YQAbAAAABExpbmtlZFNoYXBlRGF0YQAFAAAAAAACTmFtZQAZAAAATGlua2VkU2hhcGVzRGF0YVByb3BlcnR5ABBWZXJzaW9uAAAAAAAJTGFzdFdyaXRlAE+n9u6FAQAAAAEA/////8YAxgAAAAVfaWQAEAAAAASaCg5Az6NNS4sA5bgjL99UA0RhdGEAUwAAAAhQcmVzZW50YXRpb25TY2FubmVkRm9yTGlua2VkU2hhcGVzAAECTnVtYmVyRm9ybWF0U2VwYXJhdG9yTW9kZQAKAAAAQXV0b21hdGljAAACTmFtZQAkAAAATGlua2VkU2hhcGVQcmVzZW50YXRpb25TZXR0aW5nc0RhdGEAEFZlcnNpb24AAAAAAAlMYXN0V3JpdGUA1Kr27o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8"/>
  <p:tag name="MIO_HDS" val="True"/>
  <p:tag name="MIO_SKIPVERSION" val="01.01.0001 00:00:00"/>
  <p:tag name="MIO_EKGUID" val="106612b7-7cda-4c66-a943-3c88b56a92d2"/>
  <p:tag name="MIO_UPDATE" val="True"/>
  <p:tag name="MIO_VERSION" val="27.11.2018 09:18:57"/>
  <p:tag name="MIO_DBID" val="8E7267AE-489F-4B02-8040-8A98451BF141"/>
  <p:tag name="MIO_LASTDOWNLOADED" val="05.07.2022 09:22:30.916"/>
  <p:tag name="MIO_OBJECTNAME" val="Master Bayer AG 16:9"/>
  <p:tag name="MIO_CDID" val="cd9a71c7-8ed9-41a1-8303-1a6d1985851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1_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dirty="0" err="1" smtClean="0"/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</a:theme>
</file>

<file path=ppt/theme/theme2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_BAG_PPT-master_16-9_2018-06-18</Template>
  <TotalTime>0</TotalTime>
  <Words>225</Words>
  <Application>Microsoft Macintosh PowerPoint</Application>
  <PresentationFormat>Benutzerdefiniert</PresentationFormat>
  <Paragraphs>39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Helvetica</vt:lpstr>
      <vt:lpstr>Helvetica Neue</vt:lpstr>
      <vt:lpstr>HelveticaNeueLT W1G 55 Roman</vt:lpstr>
      <vt:lpstr>HelveticaNeueLT W1G 65 Md</vt:lpstr>
      <vt:lpstr>1_PR_BAG_PPT-master_16-9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</dc:title>
  <dc:creator>Katharina Kampen</dc:creator>
  <cp:lastModifiedBy>Christoph Tophoven</cp:lastModifiedBy>
  <cp:revision>27</cp:revision>
  <cp:lastPrinted>2017-10-23T10:44:12Z</cp:lastPrinted>
  <dcterms:created xsi:type="dcterms:W3CDTF">2018-08-21T12:17:38Z</dcterms:created>
  <dcterms:modified xsi:type="dcterms:W3CDTF">2023-01-27T09:0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assLabelPos">
    <vt:lpwstr>836;514;810;514;854;514</vt:lpwstr>
  </property>
  <property fmtid="{D5CDD505-2E9C-101B-9397-08002B2CF9AE}" pid="3" name="MSIP_Label_2c76c141-ac86-40e5-abf2-c6f60e474cee_Enabled">
    <vt:lpwstr>true</vt:lpwstr>
  </property>
  <property fmtid="{D5CDD505-2E9C-101B-9397-08002B2CF9AE}" pid="4" name="MSIP_Label_2c76c141-ac86-40e5-abf2-c6f60e474cee_SetDate">
    <vt:lpwstr>2023-01-26T16:44:33Z</vt:lpwstr>
  </property>
  <property fmtid="{D5CDD505-2E9C-101B-9397-08002B2CF9AE}" pid="5" name="MSIP_Label_2c76c141-ac86-40e5-abf2-c6f60e474cee_Method">
    <vt:lpwstr>Standard</vt:lpwstr>
  </property>
  <property fmtid="{D5CDD505-2E9C-101B-9397-08002B2CF9AE}" pid="6" name="MSIP_Label_2c76c141-ac86-40e5-abf2-c6f60e474cee_Name">
    <vt:lpwstr>2c76c141-ac86-40e5-abf2-c6f60e474cee</vt:lpwstr>
  </property>
  <property fmtid="{D5CDD505-2E9C-101B-9397-08002B2CF9AE}" pid="7" name="MSIP_Label_2c76c141-ac86-40e5-abf2-c6f60e474cee_SiteId">
    <vt:lpwstr>fcb2b37b-5da0-466b-9b83-0014b67a7c78</vt:lpwstr>
  </property>
  <property fmtid="{D5CDD505-2E9C-101B-9397-08002B2CF9AE}" pid="8" name="MSIP_Label_2c76c141-ac86-40e5-abf2-c6f60e474cee_ActionId">
    <vt:lpwstr>7cb812fc-c462-4c71-91b3-3f4eaaf0cb57</vt:lpwstr>
  </property>
  <property fmtid="{D5CDD505-2E9C-101B-9397-08002B2CF9AE}" pid="9" name="MSIP_Label_2c76c141-ac86-40e5-abf2-c6f60e474cee_ContentBits">
    <vt:lpwstr>2</vt:lpwstr>
  </property>
</Properties>
</file>